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15" r:id="rId2"/>
  </p:sldIdLst>
  <p:sldSz cx="10972800" cy="6400800"/>
  <p:notesSz cx="6858000" cy="9144000"/>
  <p:custDataLst>
    <p:tags r:id="rId4"/>
  </p:custDataLst>
  <p:defaultTextStyle>
    <a:defPPr>
      <a:defRPr lang="en-US"/>
    </a:defPPr>
    <a:lvl1pPr marL="0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1pPr>
    <a:lvl2pPr marL="4169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2pPr>
    <a:lvl3pPr marL="833933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3pPr>
    <a:lvl4pPr marL="1250899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4pPr>
    <a:lvl5pPr marL="16678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5pPr>
    <a:lvl6pPr marL="2084832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6pPr>
    <a:lvl7pPr marL="2501798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7pPr>
    <a:lvl8pPr marL="2918765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8pPr>
    <a:lvl9pPr marL="3335731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16">
          <p15:clr>
            <a:srgbClr val="A4A3A4"/>
          </p15:clr>
        </p15:guide>
        <p15:guide id="2" pos="345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DBAF"/>
    <a:srgbClr val="ED7D31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713871-FED8-4BB7-9973-FE118C512E34}" v="1" dt="2023-07-12T10:06:38.0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38" autoAdjust="0"/>
    <p:restoredTop sz="94660"/>
  </p:normalViewPr>
  <p:slideViewPr>
    <p:cSldViewPr snapToGrid="0">
      <p:cViewPr varScale="1">
        <p:scale>
          <a:sx n="73" d="100"/>
          <a:sy n="73" d="100"/>
        </p:scale>
        <p:origin x="852" y="60"/>
      </p:cViewPr>
      <p:guideLst>
        <p:guide orient="horz" pos="2016"/>
        <p:guide pos="34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khilesh Dodla -X (adodla - ZENSAR TECHNOLOGIES INC at Cisco)" userId="ec4fec6a-ff16-473b-b62a-617c62ef5af0" providerId="ADAL" clId="{A1713871-FED8-4BB7-9973-FE118C512E34}"/>
    <pc:docChg chg="custSel modSld">
      <pc:chgData name="Akhilesh Dodla -X (adodla - ZENSAR TECHNOLOGIES INC at Cisco)" userId="ec4fec6a-ff16-473b-b62a-617c62ef5af0" providerId="ADAL" clId="{A1713871-FED8-4BB7-9973-FE118C512E34}" dt="2023-07-12T10:17:05.018" v="49" actId="20577"/>
      <pc:docMkLst>
        <pc:docMk/>
      </pc:docMkLst>
      <pc:sldChg chg="addSp delSp modSp mod">
        <pc:chgData name="Akhilesh Dodla -X (adodla - ZENSAR TECHNOLOGIES INC at Cisco)" userId="ec4fec6a-ff16-473b-b62a-617c62ef5af0" providerId="ADAL" clId="{A1713871-FED8-4BB7-9973-FE118C512E34}" dt="2023-07-12T10:17:05.018" v="49" actId="20577"/>
        <pc:sldMkLst>
          <pc:docMk/>
          <pc:sldMk cId="3407113805" sldId="3315"/>
        </pc:sldMkLst>
        <pc:graphicFrameChg chg="modGraphic">
          <ac:chgData name="Akhilesh Dodla -X (adodla - ZENSAR TECHNOLOGIES INC at Cisco)" userId="ec4fec6a-ff16-473b-b62a-617c62ef5af0" providerId="ADAL" clId="{A1713871-FED8-4BB7-9973-FE118C512E34}" dt="2023-07-12T10:17:05.018" v="49" actId="20577"/>
          <ac:graphicFrameMkLst>
            <pc:docMk/>
            <pc:sldMk cId="3407113805" sldId="3315"/>
            <ac:graphicFrameMk id="23" creationId="{2FE67FD6-6C66-4004-993C-1D24BFFFCF95}"/>
          </ac:graphicFrameMkLst>
        </pc:graphicFrameChg>
        <pc:picChg chg="add mod">
          <ac:chgData name="Akhilesh Dodla -X (adodla - ZENSAR TECHNOLOGIES INC at Cisco)" userId="ec4fec6a-ff16-473b-b62a-617c62ef5af0" providerId="ADAL" clId="{A1713871-FED8-4BB7-9973-FE118C512E34}" dt="2023-07-12T10:06:38.026" v="41"/>
          <ac:picMkLst>
            <pc:docMk/>
            <pc:sldMk cId="3407113805" sldId="3315"/>
            <ac:picMk id="2" creationId="{EBC2685A-40EA-8092-3E5E-A5374EE98543}"/>
          </ac:picMkLst>
        </pc:picChg>
        <pc:picChg chg="del">
          <ac:chgData name="Akhilesh Dodla -X (adodla - ZENSAR TECHNOLOGIES INC at Cisco)" userId="ec4fec6a-ff16-473b-b62a-617c62ef5af0" providerId="ADAL" clId="{A1713871-FED8-4BB7-9973-FE118C512E34}" dt="2023-07-12T10:06:36.313" v="40" actId="21"/>
          <ac:picMkLst>
            <pc:docMk/>
            <pc:sldMk cId="3407113805" sldId="3315"/>
            <ac:picMk id="21" creationId="{2DD764A5-17C1-ED10-9879-2EB9B3150EB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30144-D83F-4DD0-B22B-F0E2AB266648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4225" y="1143000"/>
            <a:ext cx="52895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DDB857-5597-4A0A-9DA9-8CB975BAC3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52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47539"/>
            <a:ext cx="8229600" cy="2228427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61902"/>
            <a:ext cx="8229600" cy="1545378"/>
          </a:xfrm>
        </p:spPr>
        <p:txBody>
          <a:bodyPr/>
          <a:lstStyle>
            <a:lvl1pPr marL="0" indent="0" algn="ctr">
              <a:buNone/>
              <a:defRPr sz="2160"/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4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1639F-2EB6-B543-912E-5E373A13A4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E6AC67-C13F-384F-91DE-23469681B7C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79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0" y="340783"/>
            <a:ext cx="2366010" cy="542438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0" y="340783"/>
            <a:ext cx="6960870" cy="542438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344B1F-FBBD-5645-9EA3-CC9903B5B4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677220-9C73-6B4B-91A0-D2F80EA0E3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2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A61C83-6F25-5C49-82C3-F577CBF102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3632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A7A1FCA-DBEB-A94D-9484-5FF627C234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3157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304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5" y="1595756"/>
            <a:ext cx="9464040" cy="2662555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5" y="4283499"/>
            <a:ext cx="9464040" cy="1400175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6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9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40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8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36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8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8119DD-D0B1-1F4F-99B7-A738733564E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1E16E6-20DE-0845-815A-5E7BA05C7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0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D29578-5074-9B41-9C0C-E35AEA8CF8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F715B3-5676-BA45-9AFD-7D10A40B42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06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340784"/>
            <a:ext cx="9464040" cy="12371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1569085"/>
            <a:ext cx="4642008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2338070"/>
            <a:ext cx="4642008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0" y="1569085"/>
            <a:ext cx="4664869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0" y="2338070"/>
            <a:ext cx="4664869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BB8AB0-6DF4-AD4C-BF0B-5CA896EED9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95CC874-1F32-F54A-BCB0-E97FE6916A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39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84780E-B74C-5C49-A74A-D08AA66F7A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07EE5E6-3829-4C06-85D4-3A765A2C20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2169" y="213826"/>
            <a:ext cx="1171715" cy="181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1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A2BD35-0836-374D-AB6E-9751B40471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98F776-1003-4744-868F-6EAE8D655B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349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921597"/>
            <a:ext cx="5554980" cy="4548717"/>
          </a:xfrm>
        </p:spPr>
        <p:txBody>
          <a:bodyPr/>
          <a:lstStyle>
            <a:lvl1pPr>
              <a:defRPr sz="2880"/>
            </a:lvl1pPr>
            <a:lvl2pPr>
              <a:defRPr sz="2520"/>
            </a:lvl2pPr>
            <a:lvl3pPr>
              <a:defRPr sz="216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079E9C-CC5E-4A46-8031-8509F1B3EF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8499D2-F500-094B-8B8E-AFB9A1BE7F6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47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921597"/>
            <a:ext cx="5554980" cy="4548717"/>
          </a:xfrm>
        </p:spPr>
        <p:txBody>
          <a:bodyPr anchor="t"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2A076-DD6C-E640-A8C6-246795862F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3E587E-3179-854B-97A0-11D9755CA3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04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340784"/>
            <a:ext cx="9464040" cy="12371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1703917"/>
            <a:ext cx="9464040" cy="4061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118B3B-A594-4F81-A62B-FA83D0BF233C}" type="datetimeFigureOut">
              <a:rPr lang="en-GB" smtClean="0"/>
              <a:t>12/07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5932594"/>
            <a:ext cx="370332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599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40" indent="-20574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6.jp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5.png"/><Relationship Id="rId2" Type="http://schemas.openxmlformats.org/officeDocument/2006/relationships/tags" Target="../tags/tag3.xml"/><Relationship Id="rId16" Type="http://schemas.openxmlformats.org/officeDocument/2006/relationships/image" Target="../media/image4.e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99F54B-C1CD-4E1C-9215-25410B194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99F54B-C1CD-4E1C-9215-25410B194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C07A9A24-EE68-4738-B814-83F6D8B872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32B610D-2E7D-4186-A295-16C565C17055}"/>
              </a:ext>
            </a:extLst>
          </p:cNvPr>
          <p:cNvSpPr/>
          <p:nvPr/>
        </p:nvSpPr>
        <p:spPr>
          <a:xfrm>
            <a:off x="142108" y="132576"/>
            <a:ext cx="10688583" cy="12040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B6802A7-6FD4-41A9-B4CC-9D95CD6BAC1A}"/>
              </a:ext>
            </a:extLst>
          </p:cNvPr>
          <p:cNvSpPr/>
          <p:nvPr/>
        </p:nvSpPr>
        <p:spPr>
          <a:xfrm>
            <a:off x="78594" y="1675661"/>
            <a:ext cx="10688583" cy="4772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FE67FD6-6C66-4004-993C-1D24BFFFCF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549304"/>
              </p:ext>
            </p:extLst>
          </p:nvPr>
        </p:nvGraphicFramePr>
        <p:xfrm>
          <a:off x="1569812" y="3020098"/>
          <a:ext cx="4930152" cy="1828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0019">
                  <a:extLst>
                    <a:ext uri="{9D8B030D-6E8A-4147-A177-3AD203B41FA5}">
                      <a16:colId xmlns:a16="http://schemas.microsoft.com/office/drawing/2014/main" val="52924502"/>
                    </a:ext>
                  </a:extLst>
                </a:gridCol>
                <a:gridCol w="1755090">
                  <a:extLst>
                    <a:ext uri="{9D8B030D-6E8A-4147-A177-3AD203B41FA5}">
                      <a16:colId xmlns:a16="http://schemas.microsoft.com/office/drawing/2014/main" val="3103698789"/>
                    </a:ext>
                  </a:extLst>
                </a:gridCol>
                <a:gridCol w="637853">
                  <a:extLst>
                    <a:ext uri="{9D8B030D-6E8A-4147-A177-3AD203B41FA5}">
                      <a16:colId xmlns:a16="http://schemas.microsoft.com/office/drawing/2014/main" val="3128353261"/>
                    </a:ext>
                  </a:extLst>
                </a:gridCol>
                <a:gridCol w="1877190">
                  <a:extLst>
                    <a:ext uri="{9D8B030D-6E8A-4147-A177-3AD203B41FA5}">
                      <a16:colId xmlns:a16="http://schemas.microsoft.com/office/drawing/2014/main" val="3951554125"/>
                    </a:ext>
                  </a:extLst>
                </a:gridCol>
              </a:tblGrid>
              <a:tr h="25849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Categor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ills</a:t>
                      </a: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Exp (yrs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Detail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108533"/>
                  </a:ext>
                </a:extLst>
              </a:tr>
              <a:tr h="4308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main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gital Experience Services and Solutions(AES SGO)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4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ed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 Cisco Client and Internal Zensar Project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0071175"/>
                  </a:ext>
                </a:extLst>
              </a:tr>
              <a:tr h="4308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  <a:p>
                      <a:pPr algn="l" fontAlgn="b"/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sual Studio, Git, Rally, JIRA, Postman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4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d the tools in current Project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627155"/>
                  </a:ext>
                </a:extLst>
              </a:tr>
              <a:tr h="60315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ill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spc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Calibri" pitchFamily="18"/>
                          <a:ea typeface="Microsoft YaHei" pitchFamily="2"/>
                          <a:cs typeface="Arial" pitchFamily="2"/>
                        </a:rPr>
                        <a:t>Angular, Node.js,</a:t>
                      </a:r>
                    </a:p>
                    <a:p>
                      <a:pPr algn="l" fontAlgn="b"/>
                      <a:r>
                        <a:rPr lang="en-US" sz="1200" b="0" i="0" u="none" strike="noStrike" kern="1200" spc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Calibri" pitchFamily="18"/>
                          <a:ea typeface="Microsoft YaHei" pitchFamily="2"/>
                          <a:cs typeface="Arial" pitchFamily="2"/>
                        </a:rPr>
                        <a:t>Express.js, MongoDB,</a:t>
                      </a:r>
                    </a:p>
                    <a:p>
                      <a:pPr algn="l" fontAlgn="b"/>
                      <a:r>
                        <a:rPr lang="en-US" sz="1200" b="0" i="0" u="none" strike="noStrike" kern="1200" spc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Calibri" pitchFamily="18"/>
                          <a:ea typeface="Microsoft YaHei" pitchFamily="2"/>
                          <a:cs typeface="Arial" pitchFamily="2"/>
                        </a:rPr>
                        <a:t>MySQL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4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ed in current Project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0355909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55AFDE2-77C0-4A7C-AD62-27888F772F6B}"/>
              </a:ext>
            </a:extLst>
          </p:cNvPr>
          <p:cNvGrpSpPr/>
          <p:nvPr/>
        </p:nvGrpSpPr>
        <p:grpSpPr>
          <a:xfrm>
            <a:off x="6645763" y="1524438"/>
            <a:ext cx="4092329" cy="3621738"/>
            <a:chOff x="6605949" y="1535646"/>
            <a:chExt cx="4092329" cy="2482448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2640CCAD-5127-4FC3-B314-454896B893C7}"/>
                </a:ext>
              </a:extLst>
            </p:cNvPr>
            <p:cNvGrpSpPr/>
            <p:nvPr/>
          </p:nvGrpSpPr>
          <p:grpSpPr>
            <a:xfrm>
              <a:off x="6715486" y="1535646"/>
              <a:ext cx="3982792" cy="126400"/>
              <a:chOff x="174593" y="1448677"/>
              <a:chExt cx="3810000" cy="126400"/>
            </a:xfrm>
          </p:grpSpPr>
          <p:sp>
            <p:nvSpPr>
              <p:cNvPr id="123" name="!ObjectA-00537">
                <a:extLst>
                  <a:ext uri="{FF2B5EF4-FFF2-40B4-BE49-F238E27FC236}">
                    <a16:creationId xmlns:a16="http://schemas.microsoft.com/office/drawing/2014/main" id="{838788F7-225C-4F57-9E17-E6CE782DC8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4593" y="1448677"/>
                <a:ext cx="3810000" cy="12640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txBody>
              <a:bodyPr vert="horz" wrap="square" lIns="0" tIns="0" rIns="0" bIns="18034" rtlCol="0" anchor="b" anchorCtr="0">
                <a:spAutoFit/>
              </a:bodyPr>
              <a:lstStyle>
                <a:lvl1pPr marL="205740" lvl="0" indent="-205740" defTabSz="822960">
                  <a:lnSpc>
                    <a:spcPct val="90000"/>
                  </a:lnSpc>
                  <a:spcBef>
                    <a:spcPts val="900"/>
                  </a:spcBef>
                  <a:buFont typeface="Arial" panose="020B0604020202020204" pitchFamily="34" charset="0"/>
                  <a:buChar char="•"/>
                  <a:defRPr sz="2520"/>
                </a:lvl1pPr>
                <a:lvl2pPr marL="617220" lvl="1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2160"/>
                </a:lvl2pPr>
                <a:lvl3pPr marL="1028700" lvl="2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800"/>
                </a:lvl3pPr>
                <a:lvl4pPr marL="1440180" lvl="3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4pPr>
                <a:lvl5pPr marL="1851660" lvl="4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5pPr>
                <a:lvl6pPr marL="226314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6pPr>
                <a:lvl7pPr marL="267462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7pPr>
                <a:lvl8pPr marL="308610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8pPr>
                <a:lvl9pPr marL="349758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9pPr>
              </a:lstStyle>
              <a:p>
                <a:pPr marL="0" indent="0">
                  <a:buNone/>
                </a:pPr>
                <a:r>
                  <a:rPr lang="en-GB" sz="1200" b="1" dirty="0">
                    <a:solidFill>
                      <a:schemeClr val="tx2"/>
                    </a:solidFill>
                  </a:rPr>
                  <a:t>Key projects &amp; achievements</a:t>
                </a:r>
              </a:p>
            </p:txBody>
          </p:sp>
          <p:cxnSp>
            <p:nvCxnSpPr>
              <p:cNvPr id="124" name="Straight Arrow Connector 123">
                <a:extLst>
                  <a:ext uri="{FF2B5EF4-FFF2-40B4-BE49-F238E27FC236}">
                    <a16:creationId xmlns:a16="http://schemas.microsoft.com/office/drawing/2014/main" id="{FD703100-1399-417C-84DC-1A93ED51DF91}"/>
                  </a:ext>
                </a:extLst>
              </p:cNvPr>
              <p:cNvCxnSpPr>
                <a:cxnSpLocks/>
                <a:stCxn id="123" idx="4"/>
                <a:endCxn id="123" idx="6"/>
              </p:cNvCxnSpPr>
              <p:nvPr/>
            </p:nvCxnSpPr>
            <p:spPr>
              <a:xfrm>
                <a:off x="174593" y="1575077"/>
                <a:ext cx="3810000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5" name="!ObjectA-00583">
              <a:extLst>
                <a:ext uri="{FF2B5EF4-FFF2-40B4-BE49-F238E27FC236}">
                  <a16:creationId xmlns:a16="http://schemas.microsoft.com/office/drawing/2014/main" id="{6C9ABB8E-42B1-40BD-9A20-2B82759C726D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6645760" y="1741173"/>
              <a:ext cx="4051685" cy="86071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CPDM Central and CPDM </a:t>
              </a:r>
              <a:r>
                <a:rPr lang="en-GB" sz="1200" b="1">
                  <a:solidFill>
                    <a:schemeClr val="tx2"/>
                  </a:solidFill>
                </a:rPr>
                <a:t>Unification        Mar 2022 </a:t>
              </a:r>
              <a:r>
                <a:rPr lang="en-GB" sz="1200" b="1" dirty="0">
                  <a:solidFill>
                    <a:schemeClr val="tx2"/>
                  </a:solidFill>
                </a:rPr>
                <a:t>– Jul 2023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Implementing Client requirements and delivering requirements on time.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Involved in Backend Functionality ,frontend design , creating RESTFul Web APIs and enhancing application.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Involved in understanding the user stories and following Agile Methodology.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89D820A4-C3AD-46E6-ACB2-46B6135DCBC0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6645756" y="2703761"/>
              <a:ext cx="4051705" cy="17720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endParaRPr lang="en-US" sz="1200" dirty="0"/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3B9E445A-8C99-46B4-876F-627E16E47815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6632950" y="3840888"/>
              <a:ext cx="3993197" cy="17720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endParaRPr lang="en-US" sz="1200" dirty="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6FC2EF3-D3B5-494F-81E6-CB370491B9D1}"/>
                </a:ext>
              </a:extLst>
            </p:cNvPr>
            <p:cNvCxnSpPr/>
            <p:nvPr/>
          </p:nvCxnSpPr>
          <p:spPr>
            <a:xfrm>
              <a:off x="6605949" y="2640173"/>
              <a:ext cx="4051695" cy="0"/>
            </a:xfrm>
            <a:prstGeom prst="line">
              <a:avLst/>
            </a:prstGeom>
            <a:ln w="1905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F8FB55BC-3F22-4B29-A3D8-953CE445F1E1}"/>
                </a:ext>
              </a:extLst>
            </p:cNvPr>
            <p:cNvCxnSpPr/>
            <p:nvPr/>
          </p:nvCxnSpPr>
          <p:spPr>
            <a:xfrm>
              <a:off x="6605949" y="3755806"/>
              <a:ext cx="4051695" cy="0"/>
            </a:xfrm>
            <a:prstGeom prst="line">
              <a:avLst/>
            </a:prstGeom>
            <a:ln w="1905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73FBAD-AC82-4024-AFF0-2DFB7AEC0A9D}"/>
              </a:ext>
            </a:extLst>
          </p:cNvPr>
          <p:cNvCxnSpPr>
            <a:cxnSpLocks/>
          </p:cNvCxnSpPr>
          <p:nvPr/>
        </p:nvCxnSpPr>
        <p:spPr>
          <a:xfrm>
            <a:off x="6645763" y="1422237"/>
            <a:ext cx="0" cy="46451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7A705-B4D2-4851-AC59-BE1B0D1A24AA}"/>
              </a:ext>
            </a:extLst>
          </p:cNvPr>
          <p:cNvSpPr/>
          <p:nvPr/>
        </p:nvSpPr>
        <p:spPr>
          <a:xfrm>
            <a:off x="142109" y="154644"/>
            <a:ext cx="1204092" cy="11820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BF958B1-6C3F-4C39-9B79-893896CE918F}"/>
              </a:ext>
            </a:extLst>
          </p:cNvPr>
          <p:cNvGrpSpPr>
            <a:grpSpLocks/>
          </p:cNvGrpSpPr>
          <p:nvPr/>
        </p:nvGrpSpPr>
        <p:grpSpPr>
          <a:xfrm>
            <a:off x="4898572" y="190864"/>
            <a:ext cx="4646871" cy="1200329"/>
            <a:chOff x="5443596" y="146116"/>
            <a:chExt cx="3532720" cy="1200329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BFAACC15-2B84-4E9C-AFFF-E288F1FA316A}"/>
                </a:ext>
              </a:extLst>
            </p:cNvPr>
            <p:cNvSpPr txBox="1"/>
            <p:nvPr/>
          </p:nvSpPr>
          <p:spPr>
            <a:xfrm>
              <a:off x="5443596" y="167472"/>
              <a:ext cx="781365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Email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Phone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ocation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inkedIn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4E6D9E6-F87A-49C1-8A1D-69F19C6697F8}"/>
                </a:ext>
              </a:extLst>
            </p:cNvPr>
            <p:cNvSpPr txBox="1"/>
            <p:nvPr/>
          </p:nvSpPr>
          <p:spPr>
            <a:xfrm>
              <a:off x="6178720" y="146116"/>
              <a:ext cx="2797596" cy="12003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a.chowdary@zensar.com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8074453216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Hyderabad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</a:t>
              </a:r>
              <a:r>
                <a:rPr lang="en-US" sz="1600" b="0" i="0" dirty="0">
                  <a:effectLst/>
                </a:rPr>
                <a:t>https://www.linkedin.com/in/abhijith-chowdary-a61521133</a:t>
              </a:r>
            </a:p>
          </p:txBody>
        </p:sp>
      </p:grpSp>
      <p:sp>
        <p:nvSpPr>
          <p:cNvPr id="146" name="Title 1">
            <a:extLst>
              <a:ext uri="{FF2B5EF4-FFF2-40B4-BE49-F238E27FC236}">
                <a16:creationId xmlns:a16="http://schemas.microsoft.com/office/drawing/2014/main" id="{4B28EF4B-1B56-42A1-9259-9FBC111B5F65}"/>
              </a:ext>
            </a:extLst>
          </p:cNvPr>
          <p:cNvSpPr txBox="1">
            <a:spLocks/>
          </p:cNvSpPr>
          <p:nvPr/>
        </p:nvSpPr>
        <p:spPr>
          <a:xfrm>
            <a:off x="1343365" y="236891"/>
            <a:ext cx="3381745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822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chemeClr val="tx2"/>
                </a:solidFill>
              </a:rPr>
              <a:t>Abhijith Chowdary</a:t>
            </a:r>
          </a:p>
          <a:p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89AF505F-D3A6-4F18-960C-E2B8FFA9A153}"/>
              </a:ext>
            </a:extLst>
          </p:cNvPr>
          <p:cNvCxnSpPr>
            <a:cxnSpLocks/>
          </p:cNvCxnSpPr>
          <p:nvPr/>
        </p:nvCxnSpPr>
        <p:spPr>
          <a:xfrm>
            <a:off x="4725110" y="267326"/>
            <a:ext cx="0" cy="97872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Body3 4">
            <a:extLst>
              <a:ext uri="{FF2B5EF4-FFF2-40B4-BE49-F238E27FC236}">
                <a16:creationId xmlns:a16="http://schemas.microsoft.com/office/drawing/2014/main" id="{BA7876D2-456D-4256-9434-DC96C7FDBF5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1887" y="3028824"/>
            <a:ext cx="1253623" cy="202232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  <a:latin typeface="Calibri (Body)"/>
              </a:rPr>
              <a:t>Core competencies</a:t>
            </a:r>
          </a:p>
        </p:txBody>
      </p:sp>
      <p:sp>
        <p:nvSpPr>
          <p:cNvPr id="95" name="Body3 4">
            <a:extLst>
              <a:ext uri="{FF2B5EF4-FFF2-40B4-BE49-F238E27FC236}">
                <a16:creationId xmlns:a16="http://schemas.microsoft.com/office/drawing/2014/main" id="{635C2777-CB53-4F31-9A3E-2CA7F111522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3896" y="5214934"/>
            <a:ext cx="1253623" cy="2822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Certifications</a:t>
            </a:r>
          </a:p>
        </p:txBody>
      </p:sp>
      <p:sp>
        <p:nvSpPr>
          <p:cNvPr id="93" name="Body3 4">
            <a:extLst>
              <a:ext uri="{FF2B5EF4-FFF2-40B4-BE49-F238E27FC236}">
                <a16:creationId xmlns:a16="http://schemas.microsoft.com/office/drawing/2014/main" id="{0A9931D9-7480-49D4-A3C7-DBDD9D5724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1892" y="2366970"/>
            <a:ext cx="1253623" cy="53546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ducation</a:t>
            </a:r>
          </a:p>
        </p:txBody>
      </p:sp>
      <p:grpSp>
        <p:nvGrpSpPr>
          <p:cNvPr id="14" name="!ObjectA-00709">
            <a:extLst>
              <a:ext uri="{FF2B5EF4-FFF2-40B4-BE49-F238E27FC236}">
                <a16:creationId xmlns:a16="http://schemas.microsoft.com/office/drawing/2014/main" id="{0765A41A-144A-40BF-B71A-7411B3EED2A9}"/>
              </a:ext>
            </a:extLst>
          </p:cNvPr>
          <p:cNvGrpSpPr/>
          <p:nvPr/>
        </p:nvGrpSpPr>
        <p:grpSpPr>
          <a:xfrm>
            <a:off x="1569812" y="2375203"/>
            <a:ext cx="4580066" cy="540148"/>
            <a:chOff x="1598318" y="1996575"/>
            <a:chExt cx="3761503" cy="36961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9C6894E-B527-4ACD-8B32-D48F9F416408}"/>
                </a:ext>
              </a:extLst>
            </p:cNvPr>
            <p:cNvSpPr txBox="1"/>
            <p:nvPr/>
          </p:nvSpPr>
          <p:spPr>
            <a:xfrm>
              <a:off x="1598318" y="1996575"/>
              <a:ext cx="3155884" cy="36961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r>
                <a:rPr lang="en-GB" sz="1200" dirty="0"/>
                <a:t>CMR Engineering College, Hyderabad</a:t>
              </a:r>
            </a:p>
            <a:p>
              <a:pPr marL="0" indent="0">
                <a:buNone/>
              </a:pPr>
              <a:r>
                <a:rPr lang="en-GB" sz="1200" dirty="0"/>
                <a:t>      B.Tech in Computer Science and Engineering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FE1BBF2-417B-43C7-882C-89BB3860C73A}"/>
                </a:ext>
              </a:extLst>
            </p:cNvPr>
            <p:cNvSpPr txBox="1"/>
            <p:nvPr/>
          </p:nvSpPr>
          <p:spPr>
            <a:xfrm>
              <a:off x="3730375" y="2001587"/>
              <a:ext cx="1629446" cy="1769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buNone/>
              </a:pPr>
              <a:r>
                <a:rPr lang="en-GB" sz="1200" dirty="0"/>
                <a:t>2016-2020</a:t>
              </a:r>
            </a:p>
          </p:txBody>
        </p:sp>
      </p:grpSp>
      <p:grpSp>
        <p:nvGrpSpPr>
          <p:cNvPr id="20" name="!ObjectA-00293">
            <a:extLst>
              <a:ext uri="{FF2B5EF4-FFF2-40B4-BE49-F238E27FC236}">
                <a16:creationId xmlns:a16="http://schemas.microsoft.com/office/drawing/2014/main" id="{E5B1646C-3AF3-4469-B157-F05CB8954352}"/>
              </a:ext>
            </a:extLst>
          </p:cNvPr>
          <p:cNvGrpSpPr/>
          <p:nvPr/>
        </p:nvGrpSpPr>
        <p:grpSpPr>
          <a:xfrm>
            <a:off x="205609" y="1477637"/>
            <a:ext cx="6370418" cy="184409"/>
            <a:chOff x="240517" y="1390668"/>
            <a:chExt cx="3810000" cy="184409"/>
          </a:xfrm>
        </p:grpSpPr>
        <p:sp>
          <p:nvSpPr>
            <p:cNvPr id="113" name="!ObjectA-00537">
              <a:extLst>
                <a:ext uri="{FF2B5EF4-FFF2-40B4-BE49-F238E27FC236}">
                  <a16:creationId xmlns:a16="http://schemas.microsoft.com/office/drawing/2014/main" id="{90BAA43A-3BB9-4DD1-85D7-19CC4577E515}"/>
                </a:ext>
              </a:extLst>
            </p:cNvPr>
            <p:cNvSpPr txBox="1">
              <a:spLocks/>
            </p:cNvSpPr>
            <p:nvPr/>
          </p:nvSpPr>
          <p:spPr>
            <a:xfrm>
              <a:off x="240517" y="1390668"/>
              <a:ext cx="3810000" cy="1844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034" rtlCol="0" anchor="b" anchorCtr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Personal &amp; Professional details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8E99282-1E85-469E-B6D0-AFF02BFE256A}"/>
                </a:ext>
              </a:extLst>
            </p:cNvPr>
            <p:cNvCxnSpPr>
              <a:cxnSpLocks/>
              <a:stCxn id="113" idx="4"/>
              <a:endCxn id="113" idx="6"/>
            </p:cNvCxnSpPr>
            <p:nvPr/>
          </p:nvCxnSpPr>
          <p:spPr>
            <a:xfrm>
              <a:off x="240517" y="1575077"/>
              <a:ext cx="3810000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Body3 4">
            <a:extLst>
              <a:ext uri="{FF2B5EF4-FFF2-40B4-BE49-F238E27FC236}">
                <a16:creationId xmlns:a16="http://schemas.microsoft.com/office/drawing/2014/main" id="{5BCFE78C-5E71-4B4F-A71D-800FEDE4BE8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5423" y="5653909"/>
            <a:ext cx="1253623" cy="61075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mployment Histor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CCA7DE-DBCA-4611-8645-C22358135A0A}"/>
              </a:ext>
            </a:extLst>
          </p:cNvPr>
          <p:cNvCxnSpPr/>
          <p:nvPr/>
        </p:nvCxnSpPr>
        <p:spPr>
          <a:xfrm>
            <a:off x="173854" y="2961490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DD111540-8BAB-4538-B148-F4C53CB0D69F}"/>
              </a:ext>
            </a:extLst>
          </p:cNvPr>
          <p:cNvCxnSpPr>
            <a:cxnSpLocks/>
          </p:cNvCxnSpPr>
          <p:nvPr/>
        </p:nvCxnSpPr>
        <p:spPr>
          <a:xfrm flipV="1">
            <a:off x="242993" y="5101640"/>
            <a:ext cx="6125150" cy="8903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D0612E4-44FC-44C1-9857-CB9F7D6051AA}"/>
              </a:ext>
            </a:extLst>
          </p:cNvPr>
          <p:cNvCxnSpPr>
            <a:cxnSpLocks/>
          </p:cNvCxnSpPr>
          <p:nvPr/>
        </p:nvCxnSpPr>
        <p:spPr>
          <a:xfrm flipV="1">
            <a:off x="275335" y="5544353"/>
            <a:ext cx="6092808" cy="38526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98EF59D2-0EE5-4596-B87F-CA624EAF8A0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10771" y="5840745"/>
            <a:ext cx="4639107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>
              <a:spcBef>
                <a:spcPts val="0"/>
              </a:spcBef>
            </a:pPr>
            <a:r>
              <a:rPr lang="en-US" sz="1200" b="0" i="0" dirty="0">
                <a:effectLst/>
              </a:rPr>
              <a:t>Zensar Technologies, Full time (</a:t>
            </a:r>
            <a:r>
              <a:rPr lang="en-US" sz="1200" dirty="0"/>
              <a:t> M</a:t>
            </a:r>
            <a:r>
              <a:rPr lang="en-US" sz="1200" b="0" i="0" dirty="0">
                <a:effectLst/>
              </a:rPr>
              <a:t>arch 2022 – Present )</a:t>
            </a:r>
          </a:p>
        </p:txBody>
      </p:sp>
      <p:sp>
        <p:nvSpPr>
          <p:cNvPr id="51" name="Body3 4">
            <a:extLst>
              <a:ext uri="{FF2B5EF4-FFF2-40B4-BE49-F238E27FC236}">
                <a16:creationId xmlns:a16="http://schemas.microsoft.com/office/drawing/2014/main" id="{09C4EE4A-B7A2-42A3-9A5A-B818BFC509B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05611" y="1700020"/>
            <a:ext cx="1253623" cy="53688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Role &amp; experienc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DF94F57-8D58-4DB8-A617-1FD581035590}"/>
              </a:ext>
            </a:extLst>
          </p:cNvPr>
          <p:cNvCxnSpPr/>
          <p:nvPr/>
        </p:nvCxnSpPr>
        <p:spPr>
          <a:xfrm>
            <a:off x="142109" y="2257206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040AB231-008B-4E8E-9917-78CDA37DB91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539960" y="1682350"/>
            <a:ext cx="4639107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>
              <a:spcBef>
                <a:spcPts val="0"/>
              </a:spcBef>
            </a:pPr>
            <a:r>
              <a:rPr lang="en-US" sz="1200" b="0" i="0" u="none" strike="noStrike" kern="1200" spc="0" dirty="0">
                <a:ln>
                  <a:noFill/>
                </a:ln>
                <a:solidFill>
                  <a:srgbClr val="000000"/>
                </a:solidFill>
                <a:latin typeface="Calibri" pitchFamily="18"/>
                <a:ea typeface="Microsoft YaHei" pitchFamily="2"/>
                <a:cs typeface="Arial" pitchFamily="2"/>
              </a:rPr>
              <a:t>Software Engineer having 1.4 years of experience in Angular, Node.js, Express.js, MongoDB and MySQL.</a:t>
            </a:r>
          </a:p>
          <a:p>
            <a:pPr marL="0" indent="0">
              <a:spcBef>
                <a:spcPts val="0"/>
              </a:spcBef>
              <a:buNone/>
            </a:pPr>
            <a:endParaRPr lang="en-GB" sz="12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39E60FC-C763-44A2-96F3-C09DD662371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523527" y="5232753"/>
            <a:ext cx="5047746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>
              <a:spcBef>
                <a:spcPts val="0"/>
              </a:spcBef>
            </a:pPr>
            <a:r>
              <a:rPr lang="en-US" sz="1200" dirty="0"/>
              <a:t>Internally Accredited by Zensar – MongoDB(DAP), UI Path(DAP)</a:t>
            </a:r>
            <a:endParaRPr lang="en-GB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E9AEA7-5E5E-4F86-98F2-812C194C167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435" y="348285"/>
            <a:ext cx="1107065" cy="17133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C422EF-A902-3AEF-9D2F-B29C6A18A15E}"/>
              </a:ext>
            </a:extLst>
          </p:cNvPr>
          <p:cNvCxnSpPr>
            <a:cxnSpLocks/>
          </p:cNvCxnSpPr>
          <p:nvPr/>
        </p:nvCxnSpPr>
        <p:spPr>
          <a:xfrm>
            <a:off x="9405967" y="261241"/>
            <a:ext cx="0" cy="97872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51BB918C-3D27-57DD-80F3-B2542B8B5D4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07" y="141031"/>
            <a:ext cx="1201257" cy="119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11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REVIOUSNAME" val="C:\Users\Ankit Agarwal-IMB\Box Sync\Zensar Diagnostic\Working folder\AA\Utilization\Utilization_improvement_plan_v3_DJ comments.pptx"/>
  <p:tag name="MTBTACCENT" val="Tex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5IqHLS8RiOzVm5TVr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676</TotalTime>
  <Words>218</Words>
  <Application>Microsoft Office PowerPoint</Application>
  <PresentationFormat>Custom</PresentationFormat>
  <Paragraphs>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(Body)</vt:lpstr>
      <vt:lpstr>Calibri Light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it Agrawal</dc:creator>
  <cp:lastModifiedBy>Abhijith Chowdary -X (abchowda - ZENSAR TECHNOLOGIES INC at Cisco)</cp:lastModifiedBy>
  <cp:revision>1650</cp:revision>
  <dcterms:created xsi:type="dcterms:W3CDTF">2019-04-02T18:32:46Z</dcterms:created>
  <dcterms:modified xsi:type="dcterms:W3CDTF">2023-07-12T12:17:34Z</dcterms:modified>
</cp:coreProperties>
</file>